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sldIdLst>
    <p:sldId id="273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 showGuides="1">
      <p:cViewPr>
        <p:scale>
          <a:sx n="94" d="100"/>
          <a:sy n="94" d="100"/>
        </p:scale>
        <p:origin x="28" y="-142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microsoft.com/office/2016/11/relationships/changesInfo" Target="changesInfos/changesInfo1.xml"/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tefan Roth" userId="ac10d8d797012fab" providerId="LiveId" clId="{3995CFAC-8362-4E08-8CF6-B84D723ACECF}"/>
    <pc:docChg chg="modSld">
      <pc:chgData name="Stefan Roth" userId="ac10d8d797012fab" providerId="LiveId" clId="{3995CFAC-8362-4E08-8CF6-B84D723ACECF}" dt="2019-03-17T17:57:11.498" v="1" actId="20577"/>
      <pc:docMkLst>
        <pc:docMk/>
      </pc:docMkLst>
      <pc:sldChg chg="modSp">
        <pc:chgData name="Stefan Roth" userId="ac10d8d797012fab" providerId="LiveId" clId="{3995CFAC-8362-4E08-8CF6-B84D723ACECF}" dt="2019-03-17T17:57:11.498" v="1" actId="20577"/>
        <pc:sldMkLst>
          <pc:docMk/>
          <pc:sldMk cId="564649826" sldId="273"/>
        </pc:sldMkLst>
        <pc:spChg chg="mod">
          <ac:chgData name="Stefan Roth" userId="ac10d8d797012fab" providerId="LiveId" clId="{3995CFAC-8362-4E08-8CF6-B84D723ACECF}" dt="2019-03-17T17:57:06.863" v="0" actId="20577"/>
          <ac:spMkLst>
            <pc:docMk/>
            <pc:sldMk cId="564649826" sldId="273"/>
            <ac:spMk id="4121" creationId="{56CE85E7-AFA5-464C-BB01-B1AC67B804CE}"/>
          </ac:spMkLst>
        </pc:spChg>
        <pc:spChg chg="mod">
          <ac:chgData name="Stefan Roth" userId="ac10d8d797012fab" providerId="LiveId" clId="{3995CFAC-8362-4E08-8CF6-B84D723ACECF}" dt="2019-03-17T17:57:11.498" v="1" actId="20577"/>
          <ac:spMkLst>
            <pc:docMk/>
            <pc:sldMk cId="564649826" sldId="273"/>
            <ac:spMk id="4129" creationId="{D2CA6BF3-58B7-40F9-954E-9C473E8B8AFF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33307A7-0207-43DB-ABB5-0F04205D0895}" type="datetimeFigureOut">
              <a:rPr lang="en-US" smtClean="0"/>
              <a:t>3/17/2019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2441240-A253-4191-986E-19A639A80F7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48977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>
            <a:extLst>
              <a:ext uri="{FF2B5EF4-FFF2-40B4-BE49-F238E27FC236}">
                <a16:creationId xmlns:a16="http://schemas.microsoft.com/office/drawing/2014/main" id="{B41BBDA5-221B-407E-A3EC-C1569B6129B2}"/>
              </a:ext>
            </a:extLst>
          </p:cNvPr>
          <p:cNvSpPr>
            <a:spLocks noRo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123" name="Rectangle 3">
            <a:extLst>
              <a:ext uri="{FF2B5EF4-FFF2-40B4-BE49-F238E27FC236}">
                <a16:creationId xmlns:a16="http://schemas.microsoft.com/office/drawing/2014/main" id="{D7DE6EB7-ABA3-4496-A686-ABD6C018AE16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de-DE" altLang="de-DE" sz="100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673850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E20127B-3F31-49CC-8012-249336ED998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C3D65EB5-34D1-4D47-8A23-B89E63CB859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AA6378C-16EF-4716-94CB-0140FE91E4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64D3AE-3D2B-4779-B414-F74509AEFA8A}" type="datetimeFigureOut">
              <a:rPr lang="en-US" smtClean="0"/>
              <a:t>3/17/2019</a:t>
            </a:fld>
            <a:endParaRPr lang="en-US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324D823-58F5-4FB0-8CCA-40DE2E8BD8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AFDD63F-C5BF-436D-A5F7-0BD869C140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E800F5-E0FE-4240-9277-4AB56E394270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177183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457AADF-3681-4504-9A71-3FE0BA94A2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D305EDE1-071D-42F3-BD0D-1E0257B7B44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1B31F5D-6D40-40B8-9127-B9E5A031B5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64D3AE-3D2B-4779-B414-F74509AEFA8A}" type="datetimeFigureOut">
              <a:rPr lang="en-US" smtClean="0"/>
              <a:t>3/17/2019</a:t>
            </a:fld>
            <a:endParaRPr lang="en-US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C1A6CD9-F461-4C1A-B916-2D58779657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D200017-4EBF-4F6B-8668-D0DF9C3CFB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E800F5-E0FE-4240-9277-4AB56E394270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194283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DA1E3EE0-3CD4-473B-BBBD-0D07E12B3BD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CA891FF1-386A-43CB-91AB-4974D446534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373DB28-84D7-4F9E-9442-FA209B72A8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64D3AE-3D2B-4779-B414-F74509AEFA8A}" type="datetimeFigureOut">
              <a:rPr lang="en-US" smtClean="0"/>
              <a:t>3/17/2019</a:t>
            </a:fld>
            <a:endParaRPr lang="en-US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9EE6F64-58F6-4CCE-BAA6-2FF1615AC5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354FD43-89B1-42E5-AA5F-2333359B47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E800F5-E0FE-4240-9277-4AB56E394270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889831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631C2F7-54CD-4EC9-8674-05D77CBA93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E059E73-E028-4272-B019-DD5003FE1E9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3E98AD2-D467-4A67-B55D-DF49B27D37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64D3AE-3D2B-4779-B414-F74509AEFA8A}" type="datetimeFigureOut">
              <a:rPr lang="en-US" smtClean="0"/>
              <a:t>3/17/2019</a:t>
            </a:fld>
            <a:endParaRPr lang="en-US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D2F5841-FFC0-43B9-AB76-C6253744ED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09931DE-D44A-4E8E-9724-73DCF5A3B8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E800F5-E0FE-4240-9277-4AB56E394270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076867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5749796-DA0B-4F30-9F3D-5D3A81A3E9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CBEBE99-C536-4946-9C02-5375CD18BFD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8F03403-93CA-46C4-A4CF-85FDE8EF27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64D3AE-3D2B-4779-B414-F74509AEFA8A}" type="datetimeFigureOut">
              <a:rPr lang="en-US" smtClean="0"/>
              <a:t>3/17/2019</a:t>
            </a:fld>
            <a:endParaRPr lang="en-US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447D77C-1287-4A06-9F18-9484BE7C16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62FD7B0-4A5F-4C27-A26F-4655739F04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E800F5-E0FE-4240-9277-4AB56E394270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207151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D289E55-47B1-44E1-90AC-E589254986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83D010D-DC53-4D80-8714-429785177FD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8FFEE27F-AC53-4B58-A83A-688E3B85380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266383C2-93FA-4100-BD03-08A03A7287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64D3AE-3D2B-4779-B414-F74509AEFA8A}" type="datetimeFigureOut">
              <a:rPr lang="en-US" smtClean="0"/>
              <a:t>3/17/2019</a:t>
            </a:fld>
            <a:endParaRPr lang="en-US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46585FC9-4C93-4A0C-8F61-3A99EF6B2E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5195014C-FB10-450F-BCCC-6A75AB8C66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E800F5-E0FE-4240-9277-4AB56E394270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7473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86AB983-E25E-4883-B61E-05211FF539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4E56233-C8BB-412F-94CD-DB576AF18A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8590E3B6-E45F-4A69-8B3B-5D019AF7F0D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E603421D-FA9A-49FA-A0D2-F0B691096B3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9C45DA82-5492-4FB0-9CF2-97515BA8A38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F8519A62-C125-468E-8A89-8C041EA1EA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64D3AE-3D2B-4779-B414-F74509AEFA8A}" type="datetimeFigureOut">
              <a:rPr lang="en-US" smtClean="0"/>
              <a:t>3/17/2019</a:t>
            </a:fld>
            <a:endParaRPr lang="en-US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F4F00AA-9FD1-4AA8-8B56-06AE6D7B8C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7F39E8B5-1F4B-4EEF-9762-9DC95546B0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E800F5-E0FE-4240-9277-4AB56E394270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63786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0586961-00BD-4807-AC19-BAE9BE9593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ACD331A-EF39-461D-96D4-DB5DB1C896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64D3AE-3D2B-4779-B414-F74509AEFA8A}" type="datetimeFigureOut">
              <a:rPr lang="en-US" smtClean="0"/>
              <a:t>3/17/2019</a:t>
            </a:fld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47A421C-CD9E-475B-ABB3-F1F8BEDDE0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1CEFDF8-341E-47D9-81FF-0E4D9E093B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E800F5-E0FE-4240-9277-4AB56E394270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802832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EADF93A5-915C-4DAA-BA2F-983B863B1B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64D3AE-3D2B-4779-B414-F74509AEFA8A}" type="datetimeFigureOut">
              <a:rPr lang="en-US" smtClean="0"/>
              <a:t>3/17/2019</a:t>
            </a:fld>
            <a:endParaRPr lang="en-US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677AEB4-717E-4DAE-9D6D-C806D72DC6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E38AF16-7793-4BAE-B8C5-3BA701BBB5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E800F5-E0FE-4240-9277-4AB56E394270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117941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C96F4DD-C537-4635-B17B-FBC3BE5473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1850ECFE-A6CF-48B5-AB9F-3F21D3417CB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3A00A3E-ED1A-4640-90CA-D90DBA0C236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33AE160D-2E92-443E-AD57-4FCCF1D0A6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64D3AE-3D2B-4779-B414-F74509AEFA8A}" type="datetimeFigureOut">
              <a:rPr lang="en-US" smtClean="0"/>
              <a:t>3/17/2019</a:t>
            </a:fld>
            <a:endParaRPr lang="en-US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008F074-E98E-4C36-9409-6C1B17836C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AFC038BF-ADC1-4625-9857-E7A2D1F307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E800F5-E0FE-4240-9277-4AB56E394270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42809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1A18C26-2062-4421-A53D-5726A7D117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71AE827F-939F-4E60-B3DA-ABBDFAE41ED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349789E-457E-4094-A9FB-50BDF9A5435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7E8CCE88-D6E6-4A68-A30B-6B4001727B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64D3AE-3D2B-4779-B414-F74509AEFA8A}" type="datetimeFigureOut">
              <a:rPr lang="en-US" smtClean="0"/>
              <a:t>3/17/2019</a:t>
            </a:fld>
            <a:endParaRPr lang="en-US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862A858-2BCE-428E-9ADD-876949031E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D520FBB1-7D3E-45BE-AEFB-5B83C0D84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E800F5-E0FE-4240-9277-4AB56E394270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4600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6325576E-07CC-4004-BC7A-DB7AB35DB5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D945230-CDB5-4CA8-AA4F-82FBB4392D0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CB99E31-3C68-4CDD-899A-A2AAB0ED9F3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364D3AE-3D2B-4779-B414-F74509AEFA8A}" type="datetimeFigureOut">
              <a:rPr lang="en-US" smtClean="0"/>
              <a:t>3/17/2019</a:t>
            </a:fld>
            <a:endParaRPr lang="en-US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CB411BD-5047-4461-885E-F08D48FCE9C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6623B46-EC6E-4CB7-9F4C-10F07108825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FE800F5-E0FE-4240-9277-4AB56E394270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60472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8" name="Object 2" hidden="1">
            <a:extLst>
              <a:ext uri="{FF2B5EF4-FFF2-40B4-BE49-F238E27FC236}">
                <a16:creationId xmlns:a16="http://schemas.microsoft.com/office/drawing/2014/main" id="{BCC418CE-ECC0-4259-B52E-BF887A6220F7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4098" name="Object 2" hidden="1">
                        <a:extLst>
                          <a:ext uri="{FF2B5EF4-FFF2-40B4-BE49-F238E27FC236}">
                            <a16:creationId xmlns:a16="http://schemas.microsoft.com/office/drawing/2014/main" id="{BCC418CE-ECC0-4259-B52E-BF887A6220F7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99" name="Rectangle 6">
            <a:extLst>
              <a:ext uri="{FF2B5EF4-FFF2-40B4-BE49-F238E27FC236}">
                <a16:creationId xmlns:a16="http://schemas.microsoft.com/office/drawing/2014/main" id="{4A1EA885-A83A-4970-9D91-0C0E9030AA40}"/>
              </a:ext>
            </a:extLst>
          </p:cNvPr>
          <p:cNvSpPr>
            <a:spLocks noChangeArrowheads="1"/>
          </p:cNvSpPr>
          <p:nvPr/>
        </p:nvSpPr>
        <p:spPr bwMode="gray">
          <a:xfrm>
            <a:off x="1649413" y="6232525"/>
            <a:ext cx="3351212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933450">
              <a:buClr>
                <a:schemeClr val="tx2"/>
              </a:buClr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334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334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334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334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30000"/>
              </a:spcBef>
              <a:buClrTx/>
            </a:pPr>
            <a:r>
              <a:rPr lang="de-DE" altLang="de-DE" sz="800" b="1"/>
              <a:t>Aktuelle Risiken</a:t>
            </a:r>
          </a:p>
        </p:txBody>
      </p:sp>
      <p:sp>
        <p:nvSpPr>
          <p:cNvPr id="4100" name="Rectangle 7">
            <a:extLst>
              <a:ext uri="{FF2B5EF4-FFF2-40B4-BE49-F238E27FC236}">
                <a16:creationId xmlns:a16="http://schemas.microsoft.com/office/drawing/2014/main" id="{2A473BB1-3192-43A2-8E40-1988579F608A}"/>
              </a:ext>
            </a:extLst>
          </p:cNvPr>
          <p:cNvSpPr>
            <a:spLocks noChangeArrowheads="1"/>
          </p:cNvSpPr>
          <p:nvPr/>
        </p:nvSpPr>
        <p:spPr bwMode="gray">
          <a:xfrm>
            <a:off x="6281739" y="6224589"/>
            <a:ext cx="292893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933450">
              <a:buClr>
                <a:schemeClr val="tx2"/>
              </a:buClr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334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334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334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334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30000"/>
              </a:spcBef>
              <a:buClrTx/>
            </a:pPr>
            <a:r>
              <a:rPr lang="de-DE" altLang="de-DE" sz="800" b="1"/>
              <a:t>Entscheidungsbedarf</a:t>
            </a:r>
          </a:p>
        </p:txBody>
      </p:sp>
      <p:sp>
        <p:nvSpPr>
          <p:cNvPr id="4101" name="Rectangle 8">
            <a:extLst>
              <a:ext uri="{FF2B5EF4-FFF2-40B4-BE49-F238E27FC236}">
                <a16:creationId xmlns:a16="http://schemas.microsoft.com/office/drawing/2014/main" id="{7EF5059A-5BDC-496B-A1C4-99170E7CB415}"/>
              </a:ext>
            </a:extLst>
          </p:cNvPr>
          <p:cNvSpPr>
            <a:spLocks noGrp="1" noChangeArrowheads="1"/>
          </p:cNvSpPr>
          <p:nvPr>
            <p:ph type="title" idx="4294967295"/>
          </p:nvPr>
        </p:nvSpPr>
        <p:spPr>
          <a:xfrm>
            <a:off x="1649413" y="234950"/>
            <a:ext cx="8793162" cy="292100"/>
          </a:xfrm>
          <a:noFill/>
        </p:spPr>
        <p:txBody>
          <a:bodyPr>
            <a:normAutofit fontScale="90000"/>
          </a:bodyPr>
          <a:lstStyle/>
          <a:p>
            <a:pPr defTabSz="895350">
              <a:tabLst>
                <a:tab pos="4306888" algn="l"/>
              </a:tabLst>
            </a:pPr>
            <a:r>
              <a:rPr lang="de-DE" altLang="de-DE"/>
              <a:t>Urban Explorer Statusberichte</a:t>
            </a:r>
          </a:p>
        </p:txBody>
      </p:sp>
      <p:sp>
        <p:nvSpPr>
          <p:cNvPr id="4102" name="Rectangle 45">
            <a:extLst>
              <a:ext uri="{FF2B5EF4-FFF2-40B4-BE49-F238E27FC236}">
                <a16:creationId xmlns:a16="http://schemas.microsoft.com/office/drawing/2014/main" id="{A27B84FF-7EA6-487E-9333-4C2C7B6F60C5}"/>
              </a:ext>
            </a:extLst>
          </p:cNvPr>
          <p:cNvSpPr>
            <a:spLocks noChangeArrowheads="1"/>
          </p:cNvSpPr>
          <p:nvPr/>
        </p:nvSpPr>
        <p:spPr bwMode="gray">
          <a:xfrm>
            <a:off x="1649414" y="2354264"/>
            <a:ext cx="1373187" cy="111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933450"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334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334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334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334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Bef>
                <a:spcPct val="20000"/>
              </a:spcBef>
              <a:buClrTx/>
            </a:pPr>
            <a:r>
              <a:rPr lang="de-DE" altLang="de-DE" sz="800" b="1"/>
              <a:t>Abgeschlossene Aktivitäten</a:t>
            </a:r>
          </a:p>
        </p:txBody>
      </p:sp>
      <p:sp>
        <p:nvSpPr>
          <p:cNvPr id="4103" name="Line 46">
            <a:extLst>
              <a:ext uri="{FF2B5EF4-FFF2-40B4-BE49-F238E27FC236}">
                <a16:creationId xmlns:a16="http://schemas.microsoft.com/office/drawing/2014/main" id="{74B9731E-C333-4661-BA2D-7B7357EE27AE}"/>
              </a:ext>
            </a:extLst>
          </p:cNvPr>
          <p:cNvSpPr>
            <a:spLocks noChangeShapeType="1"/>
          </p:cNvSpPr>
          <p:nvPr/>
        </p:nvSpPr>
        <p:spPr bwMode="gray">
          <a:xfrm>
            <a:off x="1617663" y="2470150"/>
            <a:ext cx="4227512" cy="0"/>
          </a:xfrm>
          <a:prstGeom prst="line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4104" name="Rectangle 47">
            <a:extLst>
              <a:ext uri="{FF2B5EF4-FFF2-40B4-BE49-F238E27FC236}">
                <a16:creationId xmlns:a16="http://schemas.microsoft.com/office/drawing/2014/main" id="{7D6C0838-2903-4FEC-BAE4-731F5872B4CD}"/>
              </a:ext>
            </a:extLst>
          </p:cNvPr>
          <p:cNvSpPr>
            <a:spLocks noChangeArrowheads="1"/>
          </p:cNvSpPr>
          <p:nvPr/>
        </p:nvSpPr>
        <p:spPr bwMode="gray">
          <a:xfrm>
            <a:off x="5305426" y="2354263"/>
            <a:ext cx="343043" cy="110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933450"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334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334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334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334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Bef>
                <a:spcPct val="20000"/>
              </a:spcBef>
              <a:buClrTx/>
            </a:pPr>
            <a:r>
              <a:rPr lang="de-DE" altLang="de-DE" sz="800" b="1"/>
              <a:t>Termin</a:t>
            </a:r>
          </a:p>
        </p:txBody>
      </p:sp>
      <p:sp>
        <p:nvSpPr>
          <p:cNvPr id="4105" name="Rectangle 48">
            <a:extLst>
              <a:ext uri="{FF2B5EF4-FFF2-40B4-BE49-F238E27FC236}">
                <a16:creationId xmlns:a16="http://schemas.microsoft.com/office/drawing/2014/main" id="{1811695E-827B-4C81-BD6C-349C007B0321}"/>
              </a:ext>
            </a:extLst>
          </p:cNvPr>
          <p:cNvSpPr>
            <a:spLocks noChangeArrowheads="1"/>
          </p:cNvSpPr>
          <p:nvPr/>
        </p:nvSpPr>
        <p:spPr bwMode="gray">
          <a:xfrm>
            <a:off x="6281738" y="2328864"/>
            <a:ext cx="857250" cy="111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933450"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334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334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334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334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Bef>
                <a:spcPct val="20000"/>
              </a:spcBef>
              <a:buClrTx/>
            </a:pPr>
            <a:r>
              <a:rPr lang="de-DE" altLang="de-DE" sz="800" b="1"/>
              <a:t>Sonstige Themen</a:t>
            </a:r>
          </a:p>
        </p:txBody>
      </p:sp>
      <p:sp>
        <p:nvSpPr>
          <p:cNvPr id="4106" name="Rectangle 49">
            <a:extLst>
              <a:ext uri="{FF2B5EF4-FFF2-40B4-BE49-F238E27FC236}">
                <a16:creationId xmlns:a16="http://schemas.microsoft.com/office/drawing/2014/main" id="{C34BB04F-F89F-45FC-B060-FC72DC1E292F}"/>
              </a:ext>
            </a:extLst>
          </p:cNvPr>
          <p:cNvSpPr>
            <a:spLocks noChangeArrowheads="1"/>
          </p:cNvSpPr>
          <p:nvPr/>
        </p:nvSpPr>
        <p:spPr bwMode="gray">
          <a:xfrm>
            <a:off x="1633539" y="4252913"/>
            <a:ext cx="1078821" cy="110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933450"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334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334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334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334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Bef>
                <a:spcPct val="20000"/>
              </a:spcBef>
              <a:buClrTx/>
            </a:pPr>
            <a:r>
              <a:rPr lang="de-DE" altLang="de-DE" sz="800" b="1"/>
              <a:t>Zukünftige Aktivitäten</a:t>
            </a:r>
          </a:p>
        </p:txBody>
      </p:sp>
      <p:sp>
        <p:nvSpPr>
          <p:cNvPr id="4107" name="Rectangle 50">
            <a:extLst>
              <a:ext uri="{FF2B5EF4-FFF2-40B4-BE49-F238E27FC236}">
                <a16:creationId xmlns:a16="http://schemas.microsoft.com/office/drawing/2014/main" id="{1C02B5C0-E1C3-47BD-AB7F-28F927CAB1A9}"/>
              </a:ext>
            </a:extLst>
          </p:cNvPr>
          <p:cNvSpPr>
            <a:spLocks noChangeArrowheads="1"/>
          </p:cNvSpPr>
          <p:nvPr/>
        </p:nvSpPr>
        <p:spPr bwMode="gray">
          <a:xfrm>
            <a:off x="5289551" y="4252914"/>
            <a:ext cx="549275" cy="111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933450"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334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334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334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334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Bef>
                <a:spcPct val="20000"/>
              </a:spcBef>
              <a:buClrTx/>
            </a:pPr>
            <a:r>
              <a:rPr lang="de-DE" altLang="de-DE" sz="800" b="1"/>
              <a:t>Ziel-Termin</a:t>
            </a:r>
          </a:p>
        </p:txBody>
      </p:sp>
      <p:sp>
        <p:nvSpPr>
          <p:cNvPr id="4108" name="Line 51">
            <a:extLst>
              <a:ext uri="{FF2B5EF4-FFF2-40B4-BE49-F238E27FC236}">
                <a16:creationId xmlns:a16="http://schemas.microsoft.com/office/drawing/2014/main" id="{F4E01C47-F72B-4301-A956-2DB0E2EFEEF4}"/>
              </a:ext>
            </a:extLst>
          </p:cNvPr>
          <p:cNvSpPr>
            <a:spLocks noChangeShapeType="1"/>
          </p:cNvSpPr>
          <p:nvPr/>
        </p:nvSpPr>
        <p:spPr bwMode="gray">
          <a:xfrm>
            <a:off x="6281739" y="6381750"/>
            <a:ext cx="4262437" cy="0"/>
          </a:xfrm>
          <a:prstGeom prst="line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4109" name="Line 53">
            <a:extLst>
              <a:ext uri="{FF2B5EF4-FFF2-40B4-BE49-F238E27FC236}">
                <a16:creationId xmlns:a16="http://schemas.microsoft.com/office/drawing/2014/main" id="{FFE4E287-4512-4DB0-A379-B5AE645C838D}"/>
              </a:ext>
            </a:extLst>
          </p:cNvPr>
          <p:cNvSpPr>
            <a:spLocks noChangeShapeType="1"/>
          </p:cNvSpPr>
          <p:nvPr/>
        </p:nvSpPr>
        <p:spPr bwMode="gray">
          <a:xfrm>
            <a:off x="1633539" y="4418013"/>
            <a:ext cx="4262437" cy="0"/>
          </a:xfrm>
          <a:prstGeom prst="line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4110" name="Line 54">
            <a:extLst>
              <a:ext uri="{FF2B5EF4-FFF2-40B4-BE49-F238E27FC236}">
                <a16:creationId xmlns:a16="http://schemas.microsoft.com/office/drawing/2014/main" id="{7E5C7592-C99F-4BD9-9B89-4587015774A7}"/>
              </a:ext>
            </a:extLst>
          </p:cNvPr>
          <p:cNvSpPr>
            <a:spLocks noChangeShapeType="1"/>
          </p:cNvSpPr>
          <p:nvPr/>
        </p:nvSpPr>
        <p:spPr bwMode="gray">
          <a:xfrm>
            <a:off x="1649414" y="6394450"/>
            <a:ext cx="4262437" cy="0"/>
          </a:xfrm>
          <a:prstGeom prst="line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4111" name="Line 71">
            <a:extLst>
              <a:ext uri="{FF2B5EF4-FFF2-40B4-BE49-F238E27FC236}">
                <a16:creationId xmlns:a16="http://schemas.microsoft.com/office/drawing/2014/main" id="{600AB944-282A-48CC-8CA0-CF74B2103E77}"/>
              </a:ext>
            </a:extLst>
          </p:cNvPr>
          <p:cNvSpPr>
            <a:spLocks noChangeShapeType="1"/>
          </p:cNvSpPr>
          <p:nvPr/>
        </p:nvSpPr>
        <p:spPr bwMode="gray">
          <a:xfrm>
            <a:off x="6281739" y="2479675"/>
            <a:ext cx="4249737" cy="0"/>
          </a:xfrm>
          <a:prstGeom prst="line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4112" name="Rectangle 72">
            <a:extLst>
              <a:ext uri="{FF2B5EF4-FFF2-40B4-BE49-F238E27FC236}">
                <a16:creationId xmlns:a16="http://schemas.microsoft.com/office/drawing/2014/main" id="{213378A8-6191-4F59-96F7-83FBFD177DB1}"/>
              </a:ext>
            </a:extLst>
          </p:cNvPr>
          <p:cNvSpPr>
            <a:spLocks noChangeArrowheads="1"/>
          </p:cNvSpPr>
          <p:nvPr/>
        </p:nvSpPr>
        <p:spPr bwMode="gray">
          <a:xfrm>
            <a:off x="9734551" y="6224588"/>
            <a:ext cx="343043" cy="110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933450"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334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334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334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334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Bef>
                <a:spcPct val="20000"/>
              </a:spcBef>
              <a:buClrTx/>
            </a:pPr>
            <a:r>
              <a:rPr lang="de-DE" altLang="de-DE" sz="800" b="1"/>
              <a:t>Termin</a:t>
            </a:r>
          </a:p>
        </p:txBody>
      </p:sp>
      <p:sp>
        <p:nvSpPr>
          <p:cNvPr id="4113" name="Rectangle 74">
            <a:extLst>
              <a:ext uri="{FF2B5EF4-FFF2-40B4-BE49-F238E27FC236}">
                <a16:creationId xmlns:a16="http://schemas.microsoft.com/office/drawing/2014/main" id="{9E935EAD-9A52-4E35-A883-51FC10C4F25D}"/>
              </a:ext>
            </a:extLst>
          </p:cNvPr>
          <p:cNvSpPr>
            <a:spLocks noChangeArrowheads="1"/>
          </p:cNvSpPr>
          <p:nvPr/>
        </p:nvSpPr>
        <p:spPr bwMode="gray">
          <a:xfrm>
            <a:off x="2765425" y="1184276"/>
            <a:ext cx="1570038" cy="930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933450"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334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334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334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334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Bef>
                <a:spcPct val="25000"/>
              </a:spcBef>
              <a:buClrTx/>
            </a:pPr>
            <a:r>
              <a:rPr lang="de-DE" altLang="de-DE" sz="800"/>
              <a:t>IT</a:t>
            </a:r>
          </a:p>
          <a:p>
            <a:pPr eaLnBrk="1" hangingPunct="1">
              <a:lnSpc>
                <a:spcPct val="90000"/>
              </a:lnSpc>
              <a:spcBef>
                <a:spcPct val="25000"/>
              </a:spcBef>
              <a:buClrTx/>
            </a:pPr>
            <a:r>
              <a:rPr lang="de-DE" altLang="de-DE" sz="800"/>
              <a:t>Daniel Wenzl IT</a:t>
            </a:r>
            <a:br>
              <a:rPr lang="de-DE" altLang="de-DE" sz="800"/>
            </a:br>
            <a:r>
              <a:rPr lang="de-DE" altLang="de-DE" sz="800"/>
              <a:t>09110501</a:t>
            </a:r>
          </a:p>
          <a:p>
            <a:pPr eaLnBrk="1" hangingPunct="1">
              <a:lnSpc>
                <a:spcPct val="90000"/>
              </a:lnSpc>
              <a:spcBef>
                <a:spcPct val="25000"/>
              </a:spcBef>
              <a:buClrTx/>
            </a:pPr>
            <a:r>
              <a:rPr lang="de-DE" altLang="de-DE" sz="800"/>
              <a:t>Urban Explorer</a:t>
            </a:r>
          </a:p>
          <a:p>
            <a:pPr eaLnBrk="1" hangingPunct="1">
              <a:lnSpc>
                <a:spcPct val="90000"/>
              </a:lnSpc>
              <a:spcBef>
                <a:spcPct val="25000"/>
              </a:spcBef>
              <a:buClrTx/>
            </a:pPr>
            <a:r>
              <a:rPr lang="de-DE" altLang="de-DE" sz="800"/>
              <a:t>Sven Hornung</a:t>
            </a:r>
          </a:p>
          <a:p>
            <a:pPr eaLnBrk="1" hangingPunct="1">
              <a:lnSpc>
                <a:spcPct val="90000"/>
              </a:lnSpc>
              <a:spcBef>
                <a:spcPct val="25000"/>
              </a:spcBef>
              <a:buClrTx/>
            </a:pPr>
            <a:r>
              <a:rPr lang="de-DE" altLang="de-DE" sz="800"/>
              <a:t>Sven Hornung</a:t>
            </a:r>
          </a:p>
          <a:p>
            <a:pPr eaLnBrk="1" hangingPunct="1">
              <a:lnSpc>
                <a:spcPct val="90000"/>
              </a:lnSpc>
              <a:spcBef>
                <a:spcPct val="25000"/>
              </a:spcBef>
              <a:buClrTx/>
            </a:pPr>
            <a:r>
              <a:rPr lang="de-DE" altLang="de-DE" sz="800"/>
              <a:t>10.03.2019</a:t>
            </a:r>
          </a:p>
        </p:txBody>
      </p:sp>
      <p:sp>
        <p:nvSpPr>
          <p:cNvPr id="4114" name="Rectangle 82">
            <a:extLst>
              <a:ext uri="{FF2B5EF4-FFF2-40B4-BE49-F238E27FC236}">
                <a16:creationId xmlns:a16="http://schemas.microsoft.com/office/drawing/2014/main" id="{22AA8CF1-2A15-42E6-B8C8-B4512E90A1F5}"/>
              </a:ext>
            </a:extLst>
          </p:cNvPr>
          <p:cNvSpPr>
            <a:spLocks noChangeArrowheads="1"/>
          </p:cNvSpPr>
          <p:nvPr/>
        </p:nvSpPr>
        <p:spPr bwMode="gray">
          <a:xfrm>
            <a:off x="1649414" y="1184275"/>
            <a:ext cx="1062037" cy="9604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933450"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334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334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334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334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Bef>
                <a:spcPct val="25000"/>
              </a:spcBef>
              <a:buClrTx/>
            </a:pPr>
            <a:r>
              <a:rPr lang="de-DE" altLang="de-DE" sz="800"/>
              <a:t>MBV/Fachbereich	</a:t>
            </a:r>
          </a:p>
          <a:p>
            <a:pPr eaLnBrk="1" hangingPunct="1">
              <a:lnSpc>
                <a:spcPct val="90000"/>
              </a:lnSpc>
              <a:spcBef>
                <a:spcPct val="25000"/>
              </a:spcBef>
              <a:buClrTx/>
            </a:pPr>
            <a:r>
              <a:rPr lang="de-DE" altLang="de-DE" sz="800"/>
              <a:t>SVP/Business Line</a:t>
            </a:r>
          </a:p>
          <a:p>
            <a:pPr eaLnBrk="1" hangingPunct="1">
              <a:lnSpc>
                <a:spcPct val="90000"/>
              </a:lnSpc>
              <a:spcBef>
                <a:spcPct val="25000"/>
              </a:spcBef>
              <a:buClrTx/>
            </a:pPr>
            <a:r>
              <a:rPr lang="de-DE" altLang="de-DE" sz="800"/>
              <a:t>Projekt-ID</a:t>
            </a:r>
          </a:p>
          <a:p>
            <a:pPr eaLnBrk="1" hangingPunct="1">
              <a:lnSpc>
                <a:spcPct val="90000"/>
              </a:lnSpc>
              <a:spcBef>
                <a:spcPct val="25000"/>
              </a:spcBef>
              <a:buClrTx/>
            </a:pPr>
            <a:r>
              <a:rPr lang="de-DE" altLang="de-DE" sz="800"/>
              <a:t>Projektname</a:t>
            </a:r>
          </a:p>
          <a:p>
            <a:pPr eaLnBrk="1" hangingPunct="1">
              <a:lnSpc>
                <a:spcPct val="90000"/>
              </a:lnSpc>
              <a:spcBef>
                <a:spcPct val="25000"/>
              </a:spcBef>
              <a:buClrTx/>
            </a:pPr>
            <a:r>
              <a:rPr lang="de-DE" altLang="de-DE" sz="800"/>
              <a:t>Fachseite-PL</a:t>
            </a:r>
          </a:p>
          <a:p>
            <a:pPr eaLnBrk="1" hangingPunct="1">
              <a:lnSpc>
                <a:spcPct val="90000"/>
              </a:lnSpc>
              <a:spcBef>
                <a:spcPct val="25000"/>
              </a:spcBef>
              <a:buClrTx/>
            </a:pPr>
            <a:r>
              <a:rPr lang="de-DE" altLang="de-DE" sz="800"/>
              <a:t>IT - PL</a:t>
            </a:r>
          </a:p>
          <a:p>
            <a:pPr eaLnBrk="1" hangingPunct="1">
              <a:lnSpc>
                <a:spcPct val="90000"/>
              </a:lnSpc>
              <a:spcBef>
                <a:spcPct val="25000"/>
              </a:spcBef>
              <a:buClrTx/>
            </a:pPr>
            <a:r>
              <a:rPr lang="de-DE" altLang="de-DE" sz="800"/>
              <a:t>Berichts-Datum</a:t>
            </a:r>
          </a:p>
        </p:txBody>
      </p:sp>
      <p:sp>
        <p:nvSpPr>
          <p:cNvPr id="4115" name="Rectangle 83">
            <a:extLst>
              <a:ext uri="{FF2B5EF4-FFF2-40B4-BE49-F238E27FC236}">
                <a16:creationId xmlns:a16="http://schemas.microsoft.com/office/drawing/2014/main" id="{231FA030-3FA4-45D8-A16B-37474F4088CD}"/>
              </a:ext>
            </a:extLst>
          </p:cNvPr>
          <p:cNvSpPr>
            <a:spLocks noChangeArrowheads="1"/>
          </p:cNvSpPr>
          <p:nvPr/>
        </p:nvSpPr>
        <p:spPr bwMode="gray">
          <a:xfrm>
            <a:off x="1649413" y="1008064"/>
            <a:ext cx="1452562" cy="111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933450"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334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334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334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334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Bef>
                <a:spcPct val="20000"/>
              </a:spcBef>
              <a:buClrTx/>
            </a:pPr>
            <a:r>
              <a:rPr lang="de-DE" altLang="de-DE" sz="800" b="1"/>
              <a:t>Projekt-Stammdaten</a:t>
            </a:r>
          </a:p>
        </p:txBody>
      </p:sp>
      <p:sp>
        <p:nvSpPr>
          <p:cNvPr id="4116" name="Line 84">
            <a:extLst>
              <a:ext uri="{FF2B5EF4-FFF2-40B4-BE49-F238E27FC236}">
                <a16:creationId xmlns:a16="http://schemas.microsoft.com/office/drawing/2014/main" id="{3143F1F1-24CB-432A-80B4-4B2606645652}"/>
              </a:ext>
            </a:extLst>
          </p:cNvPr>
          <p:cNvSpPr>
            <a:spLocks noChangeShapeType="1"/>
          </p:cNvSpPr>
          <p:nvPr/>
        </p:nvSpPr>
        <p:spPr bwMode="gray">
          <a:xfrm>
            <a:off x="1651001" y="1141413"/>
            <a:ext cx="2684463" cy="0"/>
          </a:xfrm>
          <a:prstGeom prst="line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4117" name="Rectangle 97">
            <a:extLst>
              <a:ext uri="{FF2B5EF4-FFF2-40B4-BE49-F238E27FC236}">
                <a16:creationId xmlns:a16="http://schemas.microsoft.com/office/drawing/2014/main" id="{852AB863-8BAE-4B25-AB40-CE6D57BB3217}"/>
              </a:ext>
            </a:extLst>
          </p:cNvPr>
          <p:cNvSpPr>
            <a:spLocks noChangeArrowheads="1"/>
          </p:cNvSpPr>
          <p:nvPr/>
        </p:nvSpPr>
        <p:spPr bwMode="gray">
          <a:xfrm>
            <a:off x="8688389" y="6224589"/>
            <a:ext cx="9366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933450">
              <a:buClr>
                <a:schemeClr val="tx2"/>
              </a:buClr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334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334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334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334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30000"/>
              </a:spcBef>
              <a:buClrTx/>
            </a:pPr>
            <a:r>
              <a:rPr lang="de-DE" altLang="de-DE" sz="800" b="1"/>
              <a:t>Entscheider</a:t>
            </a:r>
          </a:p>
        </p:txBody>
      </p:sp>
      <p:grpSp>
        <p:nvGrpSpPr>
          <p:cNvPr id="4118" name="Gruppieren 4">
            <a:extLst>
              <a:ext uri="{FF2B5EF4-FFF2-40B4-BE49-F238E27FC236}">
                <a16:creationId xmlns:a16="http://schemas.microsoft.com/office/drawing/2014/main" id="{63D176D2-1AA6-46F0-AC3B-1B1379CAD98A}"/>
              </a:ext>
            </a:extLst>
          </p:cNvPr>
          <p:cNvGrpSpPr>
            <a:grpSpLocks/>
          </p:cNvGrpSpPr>
          <p:nvPr/>
        </p:nvGrpSpPr>
        <p:grpSpPr bwMode="auto">
          <a:xfrm>
            <a:off x="9696450" y="260349"/>
            <a:ext cx="736600" cy="131186"/>
            <a:chOff x="8172450" y="260648"/>
            <a:chExt cx="736600" cy="130886"/>
          </a:xfrm>
        </p:grpSpPr>
        <p:sp>
          <p:nvSpPr>
            <p:cNvPr id="4131" name="AutoShape 44">
              <a:extLst>
                <a:ext uri="{FF2B5EF4-FFF2-40B4-BE49-F238E27FC236}">
                  <a16:creationId xmlns:a16="http://schemas.microsoft.com/office/drawing/2014/main" id="{8102F74C-33F8-4210-A2BD-21789DEE641F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184493" y="280988"/>
              <a:ext cx="724557" cy="11054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defTabSz="9334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933450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933450">
                <a:buClr>
                  <a:schemeClr val="tx2"/>
                </a:buClr>
                <a:buSzPct val="120000"/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933450">
                <a:buClr>
                  <a:schemeClr val="tx2"/>
                </a:buClr>
                <a:buSzPct val="120000"/>
                <a:buFont typeface="Arial" panose="020B0604020202020204" pitchFamily="34" charset="0"/>
                <a:buChar char="▫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933450"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r" eaLnBrk="1" hangingPunct="1">
                <a:lnSpc>
                  <a:spcPct val="90000"/>
                </a:lnSpc>
                <a:spcBef>
                  <a:spcPct val="20000"/>
                </a:spcBef>
                <a:buClrTx/>
              </a:pPr>
              <a:r>
                <a:rPr lang="de-DE" altLang="de-DE" sz="800"/>
                <a:t>VERTRAULICH</a:t>
              </a:r>
            </a:p>
          </p:txBody>
        </p:sp>
        <p:cxnSp>
          <p:nvCxnSpPr>
            <p:cNvPr id="4132" name="AutoShape 46">
              <a:extLst>
                <a:ext uri="{FF2B5EF4-FFF2-40B4-BE49-F238E27FC236}">
                  <a16:creationId xmlns:a16="http://schemas.microsoft.com/office/drawing/2014/main" id="{D6E95FA4-8964-4747-864D-FA07E6509B83}"/>
                </a:ext>
              </a:extLst>
            </p:cNvPr>
            <p:cNvCxnSpPr>
              <a:cxnSpLocks noChangeShapeType="1"/>
            </p:cNvCxnSpPr>
            <p:nvPr/>
          </p:nvCxnSpPr>
          <p:spPr bwMode="gray">
            <a:xfrm>
              <a:off x="8172450" y="390525"/>
              <a:ext cx="736600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133" name="AutoShape 45">
              <a:extLst>
                <a:ext uri="{FF2B5EF4-FFF2-40B4-BE49-F238E27FC236}">
                  <a16:creationId xmlns:a16="http://schemas.microsoft.com/office/drawing/2014/main" id="{F6713F4B-DD2A-43B9-A8C7-7394123E4DC9}"/>
                </a:ext>
              </a:extLst>
            </p:cNvPr>
            <p:cNvCxnSpPr>
              <a:cxnSpLocks noChangeShapeType="1"/>
            </p:cNvCxnSpPr>
            <p:nvPr/>
          </p:nvCxnSpPr>
          <p:spPr bwMode="gray">
            <a:xfrm>
              <a:off x="8172450" y="260648"/>
              <a:ext cx="736600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4119" name="Rectangle 3">
            <a:extLst>
              <a:ext uri="{FF2B5EF4-FFF2-40B4-BE49-F238E27FC236}">
                <a16:creationId xmlns:a16="http://schemas.microsoft.com/office/drawing/2014/main" id="{4BD781A3-1604-45CE-83AF-25F44188E5ED}"/>
              </a:ext>
            </a:extLst>
          </p:cNvPr>
          <p:cNvSpPr>
            <a:spLocks noChangeArrowheads="1"/>
          </p:cNvSpPr>
          <p:nvPr/>
        </p:nvSpPr>
        <p:spPr bwMode="gray">
          <a:xfrm>
            <a:off x="4137025" y="4449763"/>
            <a:ext cx="1758950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933450">
              <a:buClr>
                <a:schemeClr val="tx2"/>
              </a:buClr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334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334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334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334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>
              <a:spcBef>
                <a:spcPct val="25000"/>
              </a:spcBef>
              <a:buClr>
                <a:schemeClr val="tx1"/>
              </a:buClr>
              <a:buSzPct val="120000"/>
            </a:pPr>
            <a:endParaRPr lang="de-DE" altLang="de-DE" sz="800">
              <a:ea typeface="MS PGothic" panose="020B0600070205080204" pitchFamily="34" charset="-128"/>
            </a:endParaRPr>
          </a:p>
          <a:p>
            <a:pPr algn="r">
              <a:spcBef>
                <a:spcPct val="25000"/>
              </a:spcBef>
              <a:buClr>
                <a:schemeClr val="tx1"/>
              </a:buClr>
              <a:buSzPct val="120000"/>
            </a:pPr>
            <a:endParaRPr lang="de-DE" altLang="de-DE" sz="800">
              <a:ea typeface="MS PGothic" panose="020B0600070205080204" pitchFamily="34" charset="-128"/>
            </a:endParaRPr>
          </a:p>
        </p:txBody>
      </p:sp>
      <p:sp>
        <p:nvSpPr>
          <p:cNvPr id="4120" name="Rectangle 3">
            <a:extLst>
              <a:ext uri="{FF2B5EF4-FFF2-40B4-BE49-F238E27FC236}">
                <a16:creationId xmlns:a16="http://schemas.microsoft.com/office/drawing/2014/main" id="{A1B44B87-2E00-4EA0-818A-120547F7E725}"/>
              </a:ext>
            </a:extLst>
          </p:cNvPr>
          <p:cNvSpPr>
            <a:spLocks noChangeArrowheads="1"/>
          </p:cNvSpPr>
          <p:nvPr/>
        </p:nvSpPr>
        <p:spPr bwMode="gray">
          <a:xfrm>
            <a:off x="4714875" y="2503489"/>
            <a:ext cx="1181100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933450">
              <a:buClr>
                <a:schemeClr val="tx2"/>
              </a:buClr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334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334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334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334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>
              <a:spcBef>
                <a:spcPct val="25000"/>
              </a:spcBef>
              <a:buClr>
                <a:schemeClr val="tx1"/>
              </a:buClr>
              <a:buSzPct val="120000"/>
            </a:pPr>
            <a:endParaRPr lang="de-DE" altLang="de-DE" sz="800">
              <a:ea typeface="MS PGothic" panose="020B0600070205080204" pitchFamily="34" charset="-128"/>
            </a:endParaRPr>
          </a:p>
          <a:p>
            <a:pPr algn="r">
              <a:spcBef>
                <a:spcPct val="25000"/>
              </a:spcBef>
              <a:buClr>
                <a:schemeClr val="tx1"/>
              </a:buClr>
              <a:buSzPct val="120000"/>
            </a:pPr>
            <a:endParaRPr lang="de-DE" altLang="de-DE" sz="800">
              <a:ea typeface="MS PGothic" panose="020B0600070205080204" pitchFamily="34" charset="-128"/>
            </a:endParaRPr>
          </a:p>
          <a:p>
            <a:pPr algn="r">
              <a:spcBef>
                <a:spcPct val="25000"/>
              </a:spcBef>
              <a:buClr>
                <a:schemeClr val="tx1"/>
              </a:buClr>
              <a:buSzPct val="120000"/>
            </a:pPr>
            <a:endParaRPr lang="de-DE" altLang="de-DE" sz="800">
              <a:ea typeface="MS PGothic" panose="020B0600070205080204" pitchFamily="34" charset="-128"/>
            </a:endParaRPr>
          </a:p>
        </p:txBody>
      </p:sp>
      <p:sp>
        <p:nvSpPr>
          <p:cNvPr id="4121" name="Textfeld 2">
            <a:extLst>
              <a:ext uri="{FF2B5EF4-FFF2-40B4-BE49-F238E27FC236}">
                <a16:creationId xmlns:a16="http://schemas.microsoft.com/office/drawing/2014/main" id="{56CE85E7-AFA5-464C-BB01-B1AC67B804C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60526" y="2535238"/>
            <a:ext cx="3362325" cy="14157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933450">
              <a:buClr>
                <a:schemeClr val="tx2"/>
              </a:buClr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334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334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334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334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25000"/>
              </a:spcBef>
              <a:buClr>
                <a:schemeClr val="tx1"/>
              </a:buClr>
              <a:buSzPct val="120000"/>
            </a:pPr>
            <a:r>
              <a:rPr lang="de-DE" altLang="de-DE" sz="800" dirty="0">
                <a:ea typeface="MS PGothic" panose="020B0600070205080204" pitchFamily="34" charset="-128"/>
              </a:rPr>
              <a:t>Aktivitäten über Großstädte sammeln</a:t>
            </a:r>
            <a:br>
              <a:rPr lang="de-DE" altLang="de-DE" sz="800" dirty="0">
                <a:ea typeface="MS PGothic" panose="020B0600070205080204" pitchFamily="34" charset="-128"/>
              </a:rPr>
            </a:br>
            <a:r>
              <a:rPr lang="de-DE" altLang="de-DE" sz="800" dirty="0">
                <a:ea typeface="MS PGothic" panose="020B0600070205080204" pitchFamily="34" charset="-128"/>
              </a:rPr>
              <a:t>Weboberfläche mit </a:t>
            </a:r>
            <a:r>
              <a:rPr lang="de-DE" altLang="de-DE" sz="800" dirty="0" err="1">
                <a:ea typeface="MS PGothic" panose="020B0600070205080204" pitchFamily="34" charset="-128"/>
              </a:rPr>
              <a:t>Balsamiq</a:t>
            </a:r>
            <a:br>
              <a:rPr lang="de-DE" altLang="de-DE" sz="800" dirty="0">
                <a:ea typeface="MS PGothic" panose="020B0600070205080204" pitchFamily="34" charset="-128"/>
              </a:rPr>
            </a:br>
            <a:r>
              <a:rPr lang="de-DE" altLang="de-DE" sz="800" dirty="0">
                <a:ea typeface="MS PGothic" panose="020B0600070205080204" pitchFamily="34" charset="-128"/>
              </a:rPr>
              <a:t>Logo erstellt</a:t>
            </a:r>
            <a:br>
              <a:rPr lang="de-DE" altLang="de-DE" sz="800" dirty="0">
                <a:ea typeface="MS PGothic" panose="020B0600070205080204" pitchFamily="34" charset="-128"/>
              </a:rPr>
            </a:br>
            <a:r>
              <a:rPr lang="de-DE" altLang="de-DE" sz="800" dirty="0">
                <a:ea typeface="MS PGothic" panose="020B0600070205080204" pitchFamily="34" charset="-128"/>
              </a:rPr>
              <a:t>Zufällig generierte Zitate auf der Website</a:t>
            </a:r>
            <a:br>
              <a:rPr lang="de-DE" altLang="de-DE" sz="800" dirty="0">
                <a:ea typeface="MS PGothic" panose="020B0600070205080204" pitchFamily="34" charset="-128"/>
              </a:rPr>
            </a:br>
            <a:br>
              <a:rPr lang="de-DE" altLang="de-DE" sz="800" dirty="0">
                <a:ea typeface="MS PGothic" panose="020B0600070205080204" pitchFamily="34" charset="-128"/>
              </a:rPr>
            </a:br>
            <a:br>
              <a:rPr lang="de-DE" altLang="de-DE" sz="800" dirty="0">
                <a:ea typeface="MS PGothic" panose="020B0600070205080204" pitchFamily="34" charset="-128"/>
              </a:rPr>
            </a:br>
            <a:endParaRPr lang="de-DE" altLang="de-DE" sz="800" dirty="0">
              <a:ea typeface="MS PGothic" panose="020B0600070205080204" pitchFamily="34" charset="-128"/>
            </a:endParaRPr>
          </a:p>
          <a:p>
            <a:pPr>
              <a:spcBef>
                <a:spcPct val="25000"/>
              </a:spcBef>
              <a:buClr>
                <a:schemeClr val="tx1"/>
              </a:buClr>
              <a:buSzPct val="120000"/>
            </a:pPr>
            <a:endParaRPr lang="de-DE" altLang="de-DE" sz="800" dirty="0">
              <a:ea typeface="MS PGothic" panose="020B0600070205080204" pitchFamily="34" charset="-128"/>
            </a:endParaRPr>
          </a:p>
          <a:p>
            <a:pPr>
              <a:spcBef>
                <a:spcPct val="25000"/>
              </a:spcBef>
              <a:buClr>
                <a:schemeClr val="tx1"/>
              </a:buClr>
              <a:buSzPct val="120000"/>
            </a:pPr>
            <a:endParaRPr lang="de-DE" altLang="de-DE" sz="800" dirty="0">
              <a:ea typeface="MS PGothic" panose="020B0600070205080204" pitchFamily="34" charset="-128"/>
            </a:endParaRPr>
          </a:p>
          <a:p>
            <a:pPr>
              <a:spcBef>
                <a:spcPct val="25000"/>
              </a:spcBef>
              <a:buClr>
                <a:schemeClr val="tx1"/>
              </a:buClr>
              <a:buSzPct val="120000"/>
            </a:pPr>
            <a:endParaRPr lang="de-DE" altLang="de-DE" sz="800" dirty="0">
              <a:ea typeface="MS PGothic" panose="020B0600070205080204" pitchFamily="34" charset="-128"/>
            </a:endParaRPr>
          </a:p>
        </p:txBody>
      </p:sp>
      <p:sp>
        <p:nvSpPr>
          <p:cNvPr id="4122" name="Textfeld 2">
            <a:extLst>
              <a:ext uri="{FF2B5EF4-FFF2-40B4-BE49-F238E27FC236}">
                <a16:creationId xmlns:a16="http://schemas.microsoft.com/office/drawing/2014/main" id="{2C8929B6-8E68-425D-82A3-08DB22AACF3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98625" y="6440489"/>
            <a:ext cx="4129088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71450" indent="-171450" defTabSz="933450">
              <a:buClr>
                <a:schemeClr val="tx2"/>
              </a:buClr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334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334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334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334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25000"/>
              </a:spcBef>
              <a:buClr>
                <a:schemeClr val="tx1"/>
              </a:buClr>
              <a:buSzPct val="120000"/>
              <a:buFontTx/>
              <a:buChar char="•"/>
            </a:pPr>
            <a:r>
              <a:rPr lang="de-DE" altLang="de-DE" sz="800" dirty="0">
                <a:ea typeface="MS PGothic" panose="020B0600070205080204" pitchFamily="34" charset="-128"/>
              </a:rPr>
              <a:t>-Bilder aus Datenbank abrufen</a:t>
            </a:r>
          </a:p>
          <a:p>
            <a:pPr>
              <a:spcBef>
                <a:spcPct val="25000"/>
              </a:spcBef>
              <a:buClr>
                <a:schemeClr val="tx1"/>
              </a:buClr>
              <a:buSzPct val="120000"/>
              <a:buFontTx/>
              <a:buChar char="•"/>
            </a:pPr>
            <a:r>
              <a:rPr lang="de-DE" altLang="de-DE" sz="800" dirty="0">
                <a:ea typeface="MS PGothic" panose="020B0600070205080204" pitchFamily="34" charset="-128"/>
              </a:rPr>
              <a:t>-Eigene Tagesplanung</a:t>
            </a:r>
          </a:p>
          <a:p>
            <a:pPr>
              <a:spcBef>
                <a:spcPct val="25000"/>
              </a:spcBef>
              <a:buClr>
                <a:schemeClr val="tx1"/>
              </a:buClr>
              <a:buSzPct val="120000"/>
              <a:buFontTx/>
              <a:buChar char="•"/>
            </a:pPr>
            <a:endParaRPr lang="de-DE" altLang="de-DE" sz="800" dirty="0">
              <a:ea typeface="MS PGothic" panose="020B0600070205080204" pitchFamily="34" charset="-128"/>
            </a:endParaRPr>
          </a:p>
        </p:txBody>
      </p:sp>
      <p:sp>
        <p:nvSpPr>
          <p:cNvPr id="3099" name="Textfeld 2">
            <a:extLst>
              <a:ext uri="{FF2B5EF4-FFF2-40B4-BE49-F238E27FC236}">
                <a16:creationId xmlns:a16="http://schemas.microsoft.com/office/drawing/2014/main" id="{842CA83D-E85E-44DB-BEB1-122FFC2BA04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269039" y="2522539"/>
            <a:ext cx="4262437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71450" indent="-171450" defTabSz="933450">
              <a:buClr>
                <a:schemeClr val="tx2"/>
              </a:buClr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933450">
              <a:buClr>
                <a:schemeClr val="tx2"/>
              </a:buClr>
              <a:buSzPct val="125000"/>
              <a:buFont typeface="Arial" pitchFamily="34" charset="0"/>
              <a:buChar char="▪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933450">
              <a:buClr>
                <a:schemeClr val="tx2"/>
              </a:buClr>
              <a:buSzPct val="120000"/>
              <a:buFont typeface="Arial" pitchFamily="34" charset="0"/>
              <a:buChar char="–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933450">
              <a:buClr>
                <a:schemeClr val="tx2"/>
              </a:buClr>
              <a:buSzPct val="120000"/>
              <a:buFont typeface="Arial" pitchFamily="34" charset="0"/>
              <a:buChar char="▫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933450">
              <a:buClr>
                <a:schemeClr val="tx2"/>
              </a:buClr>
              <a:buSzPct val="89000"/>
              <a:buFont typeface="Arial" pitchFamily="34" charset="0"/>
              <a:buChar char="-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spcBef>
                <a:spcPct val="25000"/>
              </a:spcBef>
              <a:buClr>
                <a:schemeClr val="tx1"/>
              </a:buClr>
              <a:buSzPct val="120000"/>
              <a:buFontTx/>
              <a:buChar char="•"/>
              <a:defRPr/>
            </a:pPr>
            <a:r>
              <a:rPr lang="de-DE" altLang="de-DE" sz="800" dirty="0">
                <a:ea typeface="MS PGothic" pitchFamily="34" charset="-128"/>
              </a:rPr>
              <a:t>- entfällt</a:t>
            </a:r>
          </a:p>
          <a:p>
            <a:pPr>
              <a:spcBef>
                <a:spcPct val="25000"/>
              </a:spcBef>
              <a:buClr>
                <a:schemeClr val="tx1"/>
              </a:buClr>
              <a:buSzPct val="120000"/>
              <a:buFontTx/>
              <a:buChar char="•"/>
              <a:defRPr/>
            </a:pPr>
            <a:endParaRPr lang="de-DE" altLang="de-DE" sz="800" dirty="0">
              <a:ea typeface="MS PGothic" pitchFamily="34" charset="-128"/>
            </a:endParaRPr>
          </a:p>
          <a:p>
            <a:pPr marL="0" indent="0">
              <a:spcBef>
                <a:spcPct val="25000"/>
              </a:spcBef>
              <a:buClr>
                <a:schemeClr val="tx1"/>
              </a:buClr>
              <a:buSzPct val="120000"/>
              <a:defRPr/>
            </a:pPr>
            <a:endParaRPr lang="de-DE" altLang="de-DE" sz="800" dirty="0">
              <a:ea typeface="MS PGothic" pitchFamily="34" charset="-128"/>
            </a:endParaRPr>
          </a:p>
        </p:txBody>
      </p:sp>
      <p:sp>
        <p:nvSpPr>
          <p:cNvPr id="4124" name="Rectangle 48">
            <a:extLst>
              <a:ext uri="{FF2B5EF4-FFF2-40B4-BE49-F238E27FC236}">
                <a16:creationId xmlns:a16="http://schemas.microsoft.com/office/drawing/2014/main" id="{2B19FF18-BB0F-47DE-82F3-DE269344437C}"/>
              </a:ext>
            </a:extLst>
          </p:cNvPr>
          <p:cNvSpPr>
            <a:spLocks noChangeArrowheads="1"/>
          </p:cNvSpPr>
          <p:nvPr/>
        </p:nvSpPr>
        <p:spPr bwMode="gray">
          <a:xfrm>
            <a:off x="6281738" y="4284664"/>
            <a:ext cx="925512" cy="111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933450"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334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334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334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334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Bef>
                <a:spcPct val="20000"/>
              </a:spcBef>
              <a:buClrTx/>
            </a:pPr>
            <a:r>
              <a:rPr lang="de-DE" altLang="de-DE" sz="800" b="1"/>
              <a:t>Defekte (High Prio)</a:t>
            </a:r>
          </a:p>
        </p:txBody>
      </p:sp>
      <p:sp>
        <p:nvSpPr>
          <p:cNvPr id="4125" name="Line 71">
            <a:extLst>
              <a:ext uri="{FF2B5EF4-FFF2-40B4-BE49-F238E27FC236}">
                <a16:creationId xmlns:a16="http://schemas.microsoft.com/office/drawing/2014/main" id="{E48C485B-8C8E-4E08-8E2B-1B20ED0B9C05}"/>
              </a:ext>
            </a:extLst>
          </p:cNvPr>
          <p:cNvSpPr>
            <a:spLocks noChangeShapeType="1"/>
          </p:cNvSpPr>
          <p:nvPr/>
        </p:nvSpPr>
        <p:spPr bwMode="gray">
          <a:xfrm>
            <a:off x="6281739" y="4433888"/>
            <a:ext cx="4249737" cy="0"/>
          </a:xfrm>
          <a:prstGeom prst="line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4126" name="Textfeld 2">
            <a:extLst>
              <a:ext uri="{FF2B5EF4-FFF2-40B4-BE49-F238E27FC236}">
                <a16:creationId xmlns:a16="http://schemas.microsoft.com/office/drawing/2014/main" id="{D1587417-2DB6-46B2-B8F5-1F35905B68E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313489" y="4491038"/>
            <a:ext cx="336232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71450" indent="-171450" defTabSz="933450">
              <a:buClr>
                <a:schemeClr val="tx2"/>
              </a:buClr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334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334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334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334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25000"/>
              </a:spcBef>
              <a:buClr>
                <a:schemeClr val="tx1"/>
              </a:buClr>
              <a:buSzPct val="120000"/>
              <a:buFontTx/>
              <a:buChar char="•"/>
            </a:pPr>
            <a:r>
              <a:rPr lang="de-DE" altLang="de-DE" sz="800">
                <a:ea typeface="MS PGothic" panose="020B0600070205080204" pitchFamily="34" charset="-128"/>
              </a:rPr>
              <a:t>- noch Keine Fehler</a:t>
            </a:r>
          </a:p>
        </p:txBody>
      </p:sp>
      <p:sp>
        <p:nvSpPr>
          <p:cNvPr id="4127" name="Textfeld 2">
            <a:extLst>
              <a:ext uri="{FF2B5EF4-FFF2-40B4-BE49-F238E27FC236}">
                <a16:creationId xmlns:a16="http://schemas.microsoft.com/office/drawing/2014/main" id="{3631086D-DCD0-4D37-824D-A7F7096752E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281739" y="6461125"/>
            <a:ext cx="2344737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71450" indent="-171450" defTabSz="933450">
              <a:buClr>
                <a:schemeClr val="tx2"/>
              </a:buClr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334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334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334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334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tabLst>
                <a:tab pos="727075" algn="l"/>
                <a:tab pos="1463675" algn="l"/>
                <a:tab pos="2189163" algn="l"/>
                <a:tab pos="293052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25000"/>
              </a:spcBef>
              <a:buClr>
                <a:schemeClr val="tx1"/>
              </a:buClr>
              <a:buSzPct val="120000"/>
              <a:buFontTx/>
              <a:buChar char="•"/>
            </a:pPr>
            <a:r>
              <a:rPr lang="de-DE" altLang="de-DE" sz="800">
                <a:ea typeface="MS PGothic" panose="020B0600070205080204" pitchFamily="34" charset="-128"/>
              </a:rPr>
              <a:t>-</a:t>
            </a:r>
          </a:p>
        </p:txBody>
      </p:sp>
      <p:sp>
        <p:nvSpPr>
          <p:cNvPr id="36" name="Textfeld 2">
            <a:extLst>
              <a:ext uri="{FF2B5EF4-FFF2-40B4-BE49-F238E27FC236}">
                <a16:creationId xmlns:a16="http://schemas.microsoft.com/office/drawing/2014/main" id="{8ABB1EA4-538D-47D9-99CF-7A1504E85B6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707910" y="4385228"/>
            <a:ext cx="3362325" cy="21852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defPPr>
              <a:defRPr lang="de-DE"/>
            </a:defPPr>
            <a:lvl1pPr marL="171450" indent="-171450" defTabSz="933450">
              <a:spcBef>
                <a:spcPct val="25000"/>
              </a:spcBef>
              <a:buClr>
                <a:schemeClr val="tx1"/>
              </a:buClr>
              <a:buSzPct val="120000"/>
              <a:buFontTx/>
              <a:buChar char="•"/>
              <a:tabLst>
                <a:tab pos="727075" algn="l"/>
                <a:tab pos="1463675" algn="l"/>
                <a:tab pos="2189163" algn="l"/>
                <a:tab pos="2930525" algn="l"/>
              </a:tabLst>
              <a:defRPr sz="800">
                <a:ea typeface="MS PGothic" pitchFamily="34" charset="-128"/>
              </a:defRPr>
            </a:lvl1pPr>
            <a:lvl2pPr marL="742950" indent="-285750" defTabSz="933450">
              <a:buClr>
                <a:schemeClr val="tx2"/>
              </a:buClr>
              <a:buSzPct val="125000"/>
              <a:buFont typeface="Arial" charset="0"/>
              <a:buChar char="▪"/>
              <a:tabLst>
                <a:tab pos="727075" algn="l"/>
                <a:tab pos="1463675" algn="l"/>
                <a:tab pos="2189163" algn="l"/>
                <a:tab pos="2930525" algn="l"/>
              </a:tabLst>
              <a:defRPr sz="1600"/>
            </a:lvl2pPr>
            <a:lvl3pPr marL="1143000" indent="-228600" defTabSz="933450">
              <a:buClr>
                <a:schemeClr val="tx2"/>
              </a:buClr>
              <a:buSzPct val="120000"/>
              <a:buFont typeface="Arial" charset="0"/>
              <a:buChar char="–"/>
              <a:tabLst>
                <a:tab pos="727075" algn="l"/>
                <a:tab pos="1463675" algn="l"/>
                <a:tab pos="2189163" algn="l"/>
                <a:tab pos="2930525" algn="l"/>
              </a:tabLst>
              <a:defRPr sz="1600"/>
            </a:lvl3pPr>
            <a:lvl4pPr marL="1600200" indent="-228600" defTabSz="933450">
              <a:buClr>
                <a:schemeClr val="tx2"/>
              </a:buClr>
              <a:buSzPct val="120000"/>
              <a:buFont typeface="Arial" charset="0"/>
              <a:buChar char="▫"/>
              <a:tabLst>
                <a:tab pos="727075" algn="l"/>
                <a:tab pos="1463675" algn="l"/>
                <a:tab pos="2189163" algn="l"/>
                <a:tab pos="2930525" algn="l"/>
              </a:tabLst>
              <a:defRPr sz="1600"/>
            </a:lvl4pPr>
            <a:lvl5pPr marL="2057400" indent="-228600" defTabSz="933450">
              <a:buClr>
                <a:schemeClr val="tx2"/>
              </a:buClr>
              <a:buSzPct val="89000"/>
              <a:buFont typeface="Arial" charset="0"/>
              <a:buChar char="-"/>
              <a:tabLst>
                <a:tab pos="727075" algn="l"/>
                <a:tab pos="1463675" algn="l"/>
                <a:tab pos="2189163" algn="l"/>
                <a:tab pos="2930525" algn="l"/>
              </a:tabLst>
              <a:defRPr sz="1600"/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tabLst>
                <a:tab pos="727075" algn="l"/>
                <a:tab pos="1463675" algn="l"/>
                <a:tab pos="2189163" algn="l"/>
                <a:tab pos="2930525" algn="l"/>
              </a:tabLst>
              <a:defRPr sz="1600"/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tabLst>
                <a:tab pos="727075" algn="l"/>
                <a:tab pos="1463675" algn="l"/>
                <a:tab pos="2189163" algn="l"/>
                <a:tab pos="2930525" algn="l"/>
              </a:tabLst>
              <a:defRPr sz="1600"/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tabLst>
                <a:tab pos="727075" algn="l"/>
                <a:tab pos="1463675" algn="l"/>
                <a:tab pos="2189163" algn="l"/>
                <a:tab pos="2930525" algn="l"/>
              </a:tabLst>
              <a:defRPr sz="1600"/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tabLst>
                <a:tab pos="727075" algn="l"/>
                <a:tab pos="1463675" algn="l"/>
                <a:tab pos="2189163" algn="l"/>
                <a:tab pos="2930525" algn="l"/>
              </a:tabLst>
              <a:defRPr sz="1600"/>
            </a:lvl9pPr>
          </a:lstStyle>
          <a:p>
            <a:pPr marL="0" indent="0">
              <a:buNone/>
              <a:defRPr/>
            </a:pPr>
            <a:r>
              <a:rPr lang="de-DE" altLang="de-DE" dirty="0"/>
              <a:t>Lastenheft</a:t>
            </a:r>
            <a:br>
              <a:rPr lang="de-DE" altLang="de-DE" dirty="0"/>
            </a:br>
            <a:r>
              <a:rPr lang="de-DE" altLang="de-DE" dirty="0"/>
              <a:t>Suchfunktion</a:t>
            </a:r>
            <a:br>
              <a:rPr lang="de-DE" altLang="de-DE" dirty="0"/>
            </a:br>
            <a:r>
              <a:rPr lang="de-DE" altLang="de-DE" dirty="0" err="1"/>
              <a:t>Dreamday</a:t>
            </a:r>
            <a:br>
              <a:rPr lang="de-DE" altLang="de-DE" dirty="0"/>
            </a:br>
            <a:r>
              <a:rPr lang="de-DE" altLang="de-DE" dirty="0"/>
              <a:t>Eintrag hinzufügen</a:t>
            </a:r>
            <a:br>
              <a:rPr lang="de-DE" altLang="de-DE" dirty="0">
                <a:latin typeface="Arial" charset="0"/>
                <a:cs typeface="Arial" charset="0"/>
              </a:rPr>
            </a:br>
            <a:r>
              <a:rPr lang="de-DE" altLang="de-DE" dirty="0">
                <a:latin typeface="Arial" charset="0"/>
                <a:cs typeface="Arial" charset="0"/>
              </a:rPr>
              <a:t>Informationen in die Datenbank einpflegen</a:t>
            </a:r>
            <a:br>
              <a:rPr lang="de-DE" altLang="de-DE" dirty="0">
                <a:latin typeface="Arial" charset="0"/>
                <a:cs typeface="Arial" charset="0"/>
              </a:rPr>
            </a:br>
            <a:r>
              <a:rPr lang="de-DE" altLang="de-DE" dirty="0">
                <a:latin typeface="Arial" charset="0"/>
                <a:cs typeface="Arial" charset="0"/>
              </a:rPr>
              <a:t>Website fertig stellen</a:t>
            </a:r>
            <a:br>
              <a:rPr lang="de-DE" altLang="de-DE" dirty="0">
                <a:latin typeface="Arial" charset="0"/>
                <a:cs typeface="Arial" charset="0"/>
              </a:rPr>
            </a:br>
            <a:r>
              <a:rPr lang="de-DE" altLang="de-DE" dirty="0" err="1">
                <a:latin typeface="Arial" charset="0"/>
                <a:cs typeface="Arial" charset="0"/>
              </a:rPr>
              <a:t>Coverflow</a:t>
            </a:r>
            <a:r>
              <a:rPr lang="de-DE" altLang="de-DE" dirty="0">
                <a:latin typeface="Arial" charset="0"/>
                <a:cs typeface="Arial" charset="0"/>
              </a:rPr>
              <a:t> </a:t>
            </a:r>
          </a:p>
          <a:p>
            <a:pPr marL="0" indent="0">
              <a:buNone/>
              <a:defRPr/>
            </a:pPr>
            <a:endParaRPr lang="de-DE" altLang="de-DE" dirty="0">
              <a:latin typeface="Arial" charset="0"/>
              <a:cs typeface="Arial" charset="0"/>
            </a:endParaRPr>
          </a:p>
          <a:p>
            <a:pPr marL="0" indent="0">
              <a:buNone/>
              <a:defRPr/>
            </a:pPr>
            <a:r>
              <a:rPr lang="de-DE" altLang="de-DE" dirty="0">
                <a:latin typeface="Arial" charset="0"/>
                <a:cs typeface="Arial" charset="0"/>
              </a:rPr>
              <a:t> </a:t>
            </a:r>
          </a:p>
          <a:p>
            <a:pPr marL="0" indent="0">
              <a:buNone/>
              <a:defRPr/>
            </a:pPr>
            <a:endParaRPr lang="de-DE" altLang="de-DE" dirty="0">
              <a:latin typeface="Arial" charset="0"/>
              <a:cs typeface="Arial" charset="0"/>
            </a:endParaRPr>
          </a:p>
          <a:p>
            <a:pPr marL="0" indent="0">
              <a:buNone/>
              <a:defRPr/>
            </a:pPr>
            <a:endParaRPr lang="de-DE" altLang="de-DE" dirty="0">
              <a:latin typeface="Arial" charset="0"/>
              <a:cs typeface="Arial" charset="0"/>
            </a:endParaRPr>
          </a:p>
          <a:p>
            <a:pPr marL="0" indent="0">
              <a:buNone/>
              <a:defRPr/>
            </a:pPr>
            <a:endParaRPr lang="de-DE" altLang="de-DE" dirty="0">
              <a:latin typeface="Arial" charset="0"/>
              <a:cs typeface="Arial" charset="0"/>
            </a:endParaRPr>
          </a:p>
          <a:p>
            <a:pPr>
              <a:defRPr/>
            </a:pPr>
            <a:endParaRPr lang="de-DE" altLang="de-DE" dirty="0">
              <a:latin typeface="Arial" charset="0"/>
              <a:cs typeface="Arial" charset="0"/>
            </a:endParaRPr>
          </a:p>
          <a:p>
            <a:pPr>
              <a:defRPr/>
            </a:pPr>
            <a:endParaRPr lang="de-DE" altLang="de-DE" dirty="0">
              <a:latin typeface="Arial" charset="0"/>
              <a:cs typeface="Arial" charset="0"/>
            </a:endParaRPr>
          </a:p>
          <a:p>
            <a:pPr marL="0" indent="0">
              <a:buNone/>
              <a:defRPr/>
            </a:pPr>
            <a:endParaRPr lang="de-DE" altLang="de-DE" dirty="0">
              <a:latin typeface="Arial" charset="0"/>
              <a:cs typeface="Arial" charset="0"/>
            </a:endParaRPr>
          </a:p>
        </p:txBody>
      </p:sp>
      <p:sp>
        <p:nvSpPr>
          <p:cNvPr id="4129" name="Textfeld 2">
            <a:extLst>
              <a:ext uri="{FF2B5EF4-FFF2-40B4-BE49-F238E27FC236}">
                <a16:creationId xmlns:a16="http://schemas.microsoft.com/office/drawing/2014/main" id="{D2CA6BF3-58B7-40F9-954E-9C473E8B8AF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089525" y="2543176"/>
            <a:ext cx="738188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/>
            <a:r>
              <a:rPr lang="de-DE" altLang="de-DE" sz="800" dirty="0"/>
              <a:t>18.02.2019</a:t>
            </a:r>
          </a:p>
          <a:p>
            <a:pPr algn="r"/>
            <a:r>
              <a:rPr lang="de-DE" altLang="de-DE" sz="800" dirty="0"/>
              <a:t>17.02.2019</a:t>
            </a:r>
          </a:p>
          <a:p>
            <a:pPr algn="r"/>
            <a:r>
              <a:rPr lang="de-DE" altLang="de-DE" sz="800" dirty="0"/>
              <a:t>15.02.2019</a:t>
            </a:r>
          </a:p>
          <a:p>
            <a:pPr algn="r"/>
            <a:r>
              <a:rPr lang="de-DE" altLang="de-DE" sz="800" dirty="0"/>
              <a:t>23.02.2019</a:t>
            </a:r>
          </a:p>
          <a:p>
            <a:pPr algn="r"/>
            <a:endParaRPr lang="de-DE" altLang="de-DE" sz="800" dirty="0"/>
          </a:p>
        </p:txBody>
      </p:sp>
      <p:sp>
        <p:nvSpPr>
          <p:cNvPr id="4130" name="Textfeld 2">
            <a:extLst>
              <a:ext uri="{FF2B5EF4-FFF2-40B4-BE49-F238E27FC236}">
                <a16:creationId xmlns:a16="http://schemas.microsoft.com/office/drawing/2014/main" id="{955F3698-6411-46AC-9A32-3AB339EE897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181601" y="4364039"/>
            <a:ext cx="714375" cy="13234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/>
            <a:r>
              <a:rPr lang="de-DE" altLang="de-DE" sz="800" dirty="0"/>
              <a:t>25.02.2019</a:t>
            </a:r>
            <a:br>
              <a:rPr lang="de-DE" altLang="de-DE" sz="800" dirty="0"/>
            </a:br>
            <a:r>
              <a:rPr lang="de-DE" altLang="de-DE" sz="800" dirty="0"/>
              <a:t>25.02.2019</a:t>
            </a:r>
            <a:br>
              <a:rPr lang="de-DE" altLang="de-DE" sz="800" dirty="0"/>
            </a:br>
            <a:r>
              <a:rPr lang="de-DE" altLang="de-DE" sz="800" dirty="0"/>
              <a:t>10.03.2019</a:t>
            </a:r>
          </a:p>
          <a:p>
            <a:pPr algn="r"/>
            <a:r>
              <a:rPr lang="de-DE" altLang="de-DE" sz="800" dirty="0"/>
              <a:t>10.03.2019</a:t>
            </a:r>
          </a:p>
          <a:p>
            <a:pPr algn="r"/>
            <a:r>
              <a:rPr lang="de-DE" altLang="de-DE" sz="800" dirty="0"/>
              <a:t>30.03.2019</a:t>
            </a:r>
          </a:p>
          <a:p>
            <a:pPr algn="r"/>
            <a:r>
              <a:rPr lang="de-DE" altLang="de-DE" sz="800" dirty="0"/>
              <a:t>15.03.2019</a:t>
            </a:r>
            <a:br>
              <a:rPr lang="de-DE" altLang="de-DE" sz="800" dirty="0"/>
            </a:br>
            <a:r>
              <a:rPr lang="de-DE" altLang="de-DE" sz="800" dirty="0"/>
              <a:t>17.03.2019</a:t>
            </a:r>
          </a:p>
          <a:p>
            <a:pPr algn="r"/>
            <a:endParaRPr lang="de-DE" altLang="de-DE" sz="800" dirty="0"/>
          </a:p>
          <a:p>
            <a:pPr algn="r"/>
            <a:endParaRPr lang="de-DE" altLang="de-DE" sz="800" dirty="0"/>
          </a:p>
          <a:p>
            <a:pPr algn="r"/>
            <a:endParaRPr lang="de-DE" altLang="de-DE" sz="800" dirty="0"/>
          </a:p>
        </p:txBody>
      </p:sp>
    </p:spTree>
    <p:extLst>
      <p:ext uri="{BB962C8B-B14F-4D97-AF65-F5344CB8AC3E}">
        <p14:creationId xmlns:p14="http://schemas.microsoft.com/office/powerpoint/2010/main" val="56464982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55</Words>
  <Application>Microsoft Office PowerPoint</Application>
  <PresentationFormat>Breitbild</PresentationFormat>
  <Paragraphs>50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6" baseType="lpstr">
      <vt:lpstr>Arial</vt:lpstr>
      <vt:lpstr>Calibri</vt:lpstr>
      <vt:lpstr>Calibri Light</vt:lpstr>
      <vt:lpstr>Office</vt:lpstr>
      <vt:lpstr>think-cell Folie</vt:lpstr>
      <vt:lpstr>Urban Explorer Statusbericht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rban Explorer Statusberichte</dc:title>
  <dc:creator>Stefan Roth</dc:creator>
  <cp:lastModifiedBy>Stefan Roth</cp:lastModifiedBy>
  <cp:revision>1</cp:revision>
  <dcterms:created xsi:type="dcterms:W3CDTF">2019-03-17T17:53:52Z</dcterms:created>
  <dcterms:modified xsi:type="dcterms:W3CDTF">2019-03-17T17:57:16Z</dcterms:modified>
</cp:coreProperties>
</file>